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24"/>
  </p:notesMasterIdLst>
  <p:handoutMasterIdLst>
    <p:handoutMasterId r:id="rId25"/>
  </p:handoutMasterIdLst>
  <p:sldIdLst>
    <p:sldId id="311" r:id="rId4"/>
    <p:sldId id="388" r:id="rId5"/>
    <p:sldId id="390" r:id="rId6"/>
    <p:sldId id="391" r:id="rId7"/>
    <p:sldId id="392" r:id="rId8"/>
    <p:sldId id="393" r:id="rId9"/>
    <p:sldId id="394" r:id="rId10"/>
    <p:sldId id="399" r:id="rId11"/>
    <p:sldId id="400" r:id="rId12"/>
    <p:sldId id="395" r:id="rId13"/>
    <p:sldId id="396" r:id="rId14"/>
    <p:sldId id="397" r:id="rId15"/>
    <p:sldId id="398" r:id="rId16"/>
    <p:sldId id="401" r:id="rId17"/>
    <p:sldId id="402" r:id="rId18"/>
    <p:sldId id="404" r:id="rId19"/>
    <p:sldId id="405" r:id="rId20"/>
    <p:sldId id="386" r:id="rId21"/>
    <p:sldId id="387" r:id="rId22"/>
    <p:sldId id="329" r:id="rId23"/>
  </p:sldIdLst>
  <p:sldSz cx="9906000" cy="6858000" type="A4"/>
  <p:notesSz cx="6896100" cy="10033000"/>
  <p:custDataLst>
    <p:tags r:id="rId2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>
        <p:scale>
          <a:sx n="80" d="100"/>
          <a:sy n="80" d="100"/>
        </p:scale>
        <p:origin x="-1266" y="-546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6/10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8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9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0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mBot_MyFIT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60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7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9.png"/><Relationship Id="rId2" Type="http://schemas.openxmlformats.org/officeDocument/2006/relationships/tags" Target="../tags/tag6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8.jpe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jpeg"/><Relationship Id="rId2" Type="http://schemas.openxmlformats.org/officeDocument/2006/relationships/tags" Target="../tags/tag6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7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9.png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8.jpe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8.vml"/><Relationship Id="rId4" Type="http://schemas.openxmlformats.org/officeDocument/2006/relationships/oleObject" Target="../embeddings/oleObject28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7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9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8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184478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</a:t>
            </a:r>
            <a:r>
              <a:rPr lang="pl-PL" sz="4400" dirty="0" err="1" smtClean="0">
                <a:effectLst/>
                <a:latin typeface="Comic Sans MS"/>
              </a:rPr>
              <a:t>mBot</a:t>
            </a:r>
            <a:endParaRPr lang="en-GB" dirty="0"/>
          </a:p>
        </p:txBody>
      </p:sp>
      <p:sp>
        <p:nvSpPr>
          <p:cNvPr id="11" name="Title 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5690" y="2276840"/>
            <a:ext cx="9906000" cy="1944270"/>
          </a:xfrm>
          <a:prstGeom prst="rect">
            <a:avLst/>
          </a:prstGeom>
        </p:spPr>
        <p:txBody>
          <a:bodyPr vert="horz" lIns="36000" tIns="36000" rIns="360000" bIns="36000" rtlCol="0" anchor="ctr">
            <a:noAutofit/>
          </a:bodyPr>
          <a:lstStyle/>
          <a:p>
            <a:pPr marL="0" marR="0" lvl="0" indent="0" algn="l" defTabSz="9956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      </a:t>
            </a:r>
            <a:r>
              <a:rPr kumimoji="0" lang="pl-PL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Podstawy i nie tylko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omic Sans MS" pitchFamily="66" charset="0"/>
              <a:ea typeface="+mj-ea"/>
              <a:cs typeface="+mj-cs"/>
            </a:endParaRPr>
          </a:p>
        </p:txBody>
      </p:sp>
      <p:pic>
        <p:nvPicPr>
          <p:cNvPr id="2" name="Picture 4" descr="http://static1.squarespace.com/static/55c1e26ee4b09ad05fa39502/56543d0de4b0eb26e638ed0f/56543d0de4b036d0d6dfbef7/1448361238381/Makeblock-LOGO.png?format=500w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62510" y="265529"/>
            <a:ext cx="4762500" cy="1219201"/>
          </a:xfrm>
          <a:prstGeom prst="rect">
            <a:avLst/>
          </a:prstGeom>
          <a:noFill/>
        </p:spPr>
      </p:pic>
      <p:pic>
        <p:nvPicPr>
          <p:cNvPr id="75782" name="Picture 6" descr="http://gmii.weebly.com/uploads/2/0/6/2/20622502/2494430_ori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4360" y="5085230"/>
            <a:ext cx="1219200" cy="1219201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Ekran LED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 dirty="0"/>
          </a:p>
        </p:txBody>
      </p:sp>
      <p:sp>
        <p:nvSpPr>
          <p:cNvPr id="7" name="Content Placeholder 7"/>
          <p:cNvSpPr txBox="1">
            <a:spLocks/>
          </p:cNvSpPr>
          <p:nvPr/>
        </p:nvSpPr>
        <p:spPr>
          <a:xfrm>
            <a:off x="344360" y="1484730"/>
            <a:ext cx="9289290" cy="44646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kazywanie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buziek i napisów na wyświetlaczu</a:t>
            </a: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8" name="Obraz 28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85060" y="1988800"/>
            <a:ext cx="3868537" cy="576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057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92450" y="1988800"/>
            <a:ext cx="3924028" cy="1076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0579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720690" y="3212970"/>
            <a:ext cx="4896680" cy="2968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zujnik lini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 dirty="0"/>
          </a:p>
        </p:txBody>
      </p:sp>
      <p:sp>
        <p:nvSpPr>
          <p:cNvPr id="7" name="Content Placeholder 7"/>
          <p:cNvSpPr txBox="1">
            <a:spLocks noGrp="1"/>
          </p:cNvSpPr>
          <p:nvPr>
            <p:ph sz="quarter" idx="13"/>
          </p:nvPr>
        </p:nvSpPr>
        <p:spPr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korzystanie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zujnika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linii:</a:t>
            </a:r>
          </a:p>
          <a:p>
            <a:pPr marL="342900" lvl="0" indent="-342900" defTabSz="457200">
              <a:spcBef>
                <a:spcPct val="20000"/>
              </a:spcBef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      </a:t>
            </a: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zujnik </a:t>
            </a: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linii przyjmuje 4 wartości</a:t>
            </a: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:</a:t>
            </a:r>
          </a:p>
          <a:p>
            <a:pPr marL="342900" lvl="0" indent="-342900" defTabSz="457200">
              <a:spcBef>
                <a:spcPct val="20000"/>
              </a:spcBef>
            </a:pP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	</a:t>
            </a: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		-&gt; 0</a:t>
            </a: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gdy oba sensory znajdują czarną linię</a:t>
            </a:r>
          </a:p>
          <a:p>
            <a:pPr marL="342900" lvl="0" indent="-342900" defTabSz="457200">
              <a:spcBef>
                <a:spcPct val="20000"/>
              </a:spcBef>
            </a:pP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	</a:t>
            </a: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		-&gt; 1</a:t>
            </a: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gdy lewy jest na czarnej </a:t>
            </a: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linii</a:t>
            </a:r>
          </a:p>
          <a:p>
            <a:pPr marL="342900" lvl="0" indent="-342900" defTabSz="457200">
              <a:spcBef>
                <a:spcPct val="20000"/>
              </a:spcBef>
            </a:pP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	</a:t>
            </a: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	</a:t>
            </a: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	</a:t>
            </a: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-&gt; 2</a:t>
            </a: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gdy tylko </a:t>
            </a: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awy</a:t>
            </a:r>
          </a:p>
          <a:p>
            <a:pPr marL="342900" lvl="0" indent="-342900" defTabSz="457200">
              <a:spcBef>
                <a:spcPct val="20000"/>
              </a:spcBef>
            </a:pP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	</a:t>
            </a: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		-&gt; 3</a:t>
            </a:r>
            <a:r>
              <a:rPr lang="pl-PL" sz="20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gdy żaden z sensorów "nie widzi" czarnej linii</a:t>
            </a: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8" name="Obraz 61" descr="http://cdn1.bigcommerce.com/server2600/4r4weyxd/products/341/images/2249/Me_Line_Follower_V2.2_1__21776.1420509430.1280.1280.jpg?c=2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29330" y="1340710"/>
            <a:ext cx="1800225" cy="1801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08980" y="4077090"/>
            <a:ext cx="4432286" cy="1673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zujnik odległości - sonar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 dirty="0"/>
          </a:p>
        </p:txBody>
      </p:sp>
      <p:pic>
        <p:nvPicPr>
          <p:cNvPr id="7" name="Obraz 67" descr="http://www.trobot.pl/wp-content/uploads/2014/10/p-2733-5-0688_Makeblock_ultradzwiekowy_czujnik_odleglosci_V30_5-247x247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29330" y="1124680"/>
            <a:ext cx="2352848" cy="2349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Content Placeholder 7"/>
          <p:cNvSpPr txBox="1">
            <a:spLocks/>
          </p:cNvSpPr>
          <p:nvPr/>
        </p:nvSpPr>
        <p:spPr>
          <a:xfrm>
            <a:off x="344360" y="1484730"/>
            <a:ext cx="9289290" cy="44646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korzystanie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zujnika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odległości</a:t>
            </a:r>
          </a:p>
          <a:p>
            <a:pPr marL="342900" lvl="0" indent="-342900" defTabSz="457200">
              <a:spcBef>
                <a:spcPct val="20000"/>
              </a:spcBef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	(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odległość jest liczona w centymetrach)</a:t>
            </a:r>
          </a:p>
          <a:p>
            <a:pPr marL="342900" lvl="0" indent="-342900" defTabSz="457200">
              <a:spcBef>
                <a:spcPct val="20000"/>
              </a:spcBef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9" name="Obraz 64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24510" y="2924930"/>
            <a:ext cx="5555447" cy="2449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569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Dźwięki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Bot_MyFIT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Bo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posiada mały głośniczek (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buzzer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 Tak możemy wydawać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zwięki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o różnej wysokości i długości: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5702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872850" y="2996940"/>
            <a:ext cx="2276475" cy="187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nne bloczk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 dirty="0"/>
          </a:p>
        </p:txBody>
      </p:sp>
      <p:sp>
        <p:nvSpPr>
          <p:cNvPr id="7" name="Content Placeholder 7"/>
          <p:cNvSpPr txBox="1">
            <a:spLocks/>
          </p:cNvSpPr>
          <p:nvPr/>
        </p:nvSpPr>
        <p:spPr>
          <a:xfrm>
            <a:off x="344360" y="1484730"/>
            <a:ext cx="9289290" cy="44646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mienn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: kategoria "Dane i bloczki" -&gt; Utwórz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mienną</a:t>
            </a: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bloki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(funkcje): kategoria "Dane i bloczki" -&gt; Utwórz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blok</a:t>
            </a: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rażenia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algebraiczne, logiczne (kategoria "Wyrażenia")</a:t>
            </a: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8" name="Obraz 31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80490" y="2060810"/>
            <a:ext cx="1872260" cy="576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Obraz 34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85060" y="2060810"/>
            <a:ext cx="3385398" cy="639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Obraz 40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72850" y="3429000"/>
            <a:ext cx="4887017" cy="14297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Obraz 43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24584" y="5589300"/>
            <a:ext cx="3244946" cy="559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 dirty="0"/>
          </a:p>
        </p:txBody>
      </p:sp>
      <p:sp>
        <p:nvSpPr>
          <p:cNvPr id="288770" name="Rectangle 2"/>
          <p:cNvSpPr>
            <a:spLocks noChangeArrowheads="1"/>
          </p:cNvSpPr>
          <p:nvPr/>
        </p:nvSpPr>
        <p:spPr bwMode="auto">
          <a:xfrm>
            <a:off x="675226" y="3149183"/>
            <a:ext cx="855554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sz="3200" b="1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omic Sans MS" pitchFamily="66" charset="0"/>
                <a:ea typeface="Calibri" pitchFamily="34" charset="0"/>
                <a:cs typeface="Times New Roman" pitchFamily="18" charset="0"/>
              </a:rPr>
              <a:t>UDANEGO PROGRAMOWANIA </a:t>
            </a:r>
            <a:r>
              <a:rPr kumimoji="0" lang="pl-PL" sz="3200" b="1" i="0" u="none" strike="noStrike" cap="none" normalizeH="0" baseline="0" dirty="0" err="1" smtClean="0">
                <a:ln>
                  <a:noFill/>
                </a:ln>
                <a:solidFill>
                  <a:srgbClr val="0070C0"/>
                </a:solidFill>
                <a:effectLst/>
                <a:latin typeface="Comic Sans MS" pitchFamily="66" charset="0"/>
                <a:ea typeface="Calibri" pitchFamily="34" charset="0"/>
                <a:cs typeface="Times New Roman" pitchFamily="18" charset="0"/>
              </a:rPr>
              <a:t>mBot'a</a:t>
            </a:r>
            <a:r>
              <a:rPr kumimoji="0" lang="pl-PL" sz="3200" b="1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omic Sans MS" pitchFamily="66" charset="0"/>
                <a:ea typeface="Calibri" pitchFamily="34" charset="0"/>
                <a:cs typeface="Times New Roman" pitchFamily="18" charset="0"/>
              </a:rPr>
              <a:t>! :)</a:t>
            </a:r>
            <a:endParaRPr kumimoji="0" lang="pl-PL" sz="3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0: Dobra zabawa!!!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 dirty="0"/>
          </a:p>
        </p:txBody>
      </p:sp>
      <p:sp>
        <p:nvSpPr>
          <p:cNvPr id="7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Liczy sie wasza pomysłowość – stwórzcie dowolny program, który w jakiś sposób poruszy robotem. Przykładowo robot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że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ie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ręcić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kółko, jechać do wyznaczonego punktu, odtworzyć muzyczkę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…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9696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0690" y="2924930"/>
            <a:ext cx="4095750" cy="147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696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62725" y="3573020"/>
            <a:ext cx="3343275" cy="273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6964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0340" y="3933070"/>
            <a:ext cx="2743200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1: Aktywny </a:t>
            </a:r>
            <a:r>
              <a:rPr lang="pl-PL" dirty="0" err="1" smtClean="0"/>
              <a:t>tempomat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 dirty="0"/>
          </a:p>
        </p:txBody>
      </p:sp>
      <p:sp>
        <p:nvSpPr>
          <p:cNvPr id="7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Robot jedzie szybko do przodu. Gdy zaczyna zbliżać się do obiektu, który jest przed nim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winien zwalniać. Im bliżej będzie tym wolniej ma jechać. Dodatkowo, gdy robot zbliży się na określoną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odległość, ma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ię całkowicie zatrzymać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97988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44610" y="2996940"/>
            <a:ext cx="5353050" cy="333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112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Zadanie 2: Zdalnie </a:t>
            </a:r>
            <a:r>
              <a:rPr lang="pl-PL" dirty="0" smtClean="0"/>
              <a:t>sterowany robot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Bot_MyFIT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twórzcie program, aby można było sterować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Botem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za pomocą pilota. Wykorzystajcie możliwie dużo poznanych czujników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1" name="Picture 4" descr="http://makeblock.com/image/cache/catalog/u/830/mBot3__93940-800x800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60390" y="2636890"/>
            <a:ext cx="3168440" cy="3168440"/>
          </a:xfrm>
          <a:prstGeom prst="rect">
            <a:avLst/>
          </a:prstGeom>
          <a:noFill/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321190" y="2996940"/>
            <a:ext cx="2603760" cy="2272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1124" name="Picture 4" descr="http://learn.makeblock.com/wp-content/uploads/2016/01/%E5%BE%AE%E4%BF%A1%E6%88%AA%E5%9B%BE_20160128171741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584810" y="3068950"/>
            <a:ext cx="2466975" cy="208597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214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Zadanie 3: Robot </a:t>
            </a:r>
            <a:r>
              <a:rPr lang="pl-PL" dirty="0" smtClean="0"/>
              <a:t>śledzący linię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Bot_MyFIT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twórzcie program 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ażący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Botowi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śledzić linię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262148" name="AutoShape 4" descr="https://pbs.twimg.com/media/CF7F8j5UsAEYv4l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150" name="AutoShape 6" descr="https://pbs.twimg.com/media/CF7F8j5UsAEYv4l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152" name="AutoShape 8" descr="https://pbs.twimg.com/media/CF7F8j5UsAEYv4l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154" name="AutoShape 10" descr="https://pbs.twimg.com/media/CF7F8j5UsAEYv4l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156" name="AutoShape 12" descr="https://pbs.twimg.com/media/CF7F8j5UsAEYv4l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158" name="AutoShape 14" descr="https://pbs.twimg.com/media/CF7F8j5UsAEYv4l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62159" name="Picture 15" descr="C:\Users\jczas\Downloads\lf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673100" y="1268700"/>
            <a:ext cx="3757015" cy="4920355"/>
          </a:xfrm>
          <a:prstGeom prst="rect">
            <a:avLst/>
          </a:prstGeom>
          <a:noFill/>
        </p:spPr>
      </p:pic>
      <p:pic>
        <p:nvPicPr>
          <p:cNvPr id="15" name="Picture 4" descr="http://makeblock.com/image/cache/catalog/u/830/mBot3__93940-800x800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60390" y="2636890"/>
            <a:ext cx="3168440" cy="316844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13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/>
              <a:t>mBot</a:t>
            </a:r>
            <a:r>
              <a:rPr lang="pl-PL" dirty="0" smtClean="0"/>
              <a:t> i </a:t>
            </a:r>
            <a:r>
              <a:rPr lang="pl-PL" dirty="0" err="1" smtClean="0"/>
              <a:t>mBlock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Bot_MyFIT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37220" name="Picture 4" descr="http://makeblock.com/image/cache/catalog/u/830/mBot3__93940-800x800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88380" y="1484730"/>
            <a:ext cx="4680650" cy="4680650"/>
          </a:xfrm>
          <a:prstGeom prst="rect">
            <a:avLst/>
          </a:prstGeom>
          <a:noFill/>
        </p:spPr>
      </p:pic>
      <p:pic>
        <p:nvPicPr>
          <p:cNvPr id="137221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241040" y="2060810"/>
            <a:ext cx="3827930" cy="3340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/>
        </p:nvSpPr>
        <p:spPr>
          <a:xfrm>
            <a:off x="2288630" y="5589300"/>
            <a:ext cx="1023037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800" dirty="0" err="1" smtClean="0"/>
              <a:t>mBot</a:t>
            </a:r>
            <a:endParaRPr lang="en-US" sz="2800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6681240" y="5589300"/>
            <a:ext cx="1362874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800" dirty="0" err="1" smtClean="0"/>
              <a:t>mBlock</a:t>
            </a:r>
            <a:endParaRPr lang="en-US" sz="2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pis płytki </a:t>
            </a:r>
            <a:r>
              <a:rPr lang="pl-PL" dirty="0" err="1" smtClean="0"/>
              <a:t>mBot’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 dirty="0"/>
          </a:p>
        </p:txBody>
      </p:sp>
      <p:pic>
        <p:nvPicPr>
          <p:cNvPr id="27853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64460" y="1196690"/>
            <a:ext cx="7685165" cy="4708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Jak</a:t>
            </a:r>
            <a:r>
              <a:rPr lang="en-US" dirty="0" smtClean="0"/>
              <a:t> </a:t>
            </a:r>
            <a:r>
              <a:rPr lang="en-US" dirty="0" err="1" smtClean="0"/>
              <a:t>programować</a:t>
            </a:r>
            <a:r>
              <a:rPr lang="en-US" dirty="0" smtClean="0"/>
              <a:t> w </a:t>
            </a:r>
            <a:r>
              <a:rPr lang="en-US" dirty="0" err="1" smtClean="0"/>
              <a:t>mBlock’u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 dirty="0"/>
          </a:p>
        </p:txBody>
      </p:sp>
      <p:sp>
        <p:nvSpPr>
          <p:cNvPr id="7" name="Content Placeholder 7"/>
          <p:cNvSpPr txBox="1">
            <a:spLocks/>
          </p:cNvSpPr>
          <p:nvPr/>
        </p:nvSpPr>
        <p:spPr>
          <a:xfrm>
            <a:off x="344360" y="1484730"/>
            <a:ext cx="9289290" cy="44646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ogram składa się z bloczków – przeciągamy je i dopasowujemy  do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iebie</a:t>
            </a: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orzystamy głównie z bloczków w kategorii „Roboty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”</a:t>
            </a: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ogram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czyna się od bloczku "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Bo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ogram„</a:t>
            </a: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ażne są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również bloczki z kategorii "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ontrola„: "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wsze" (pętla) i warunki: "jeżeli ... to", "jeżeli ... to, w przeciwnym razie"</a:t>
            </a:r>
            <a:endParaRPr kumimoji="0" lang="de-DE" sz="2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mic Sans MS"/>
              <a:ea typeface="+mn-ea"/>
              <a:cs typeface="Comic Sans MS"/>
            </a:endParaRPr>
          </a:p>
        </p:txBody>
      </p:sp>
      <p:pic>
        <p:nvPicPr>
          <p:cNvPr id="9" name="Obraz 4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40540" y="3212970"/>
            <a:ext cx="6056106" cy="1684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ierwszy program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 dirty="0"/>
          </a:p>
        </p:txBody>
      </p:sp>
      <p:sp>
        <p:nvSpPr>
          <p:cNvPr id="7" name="Content Placeholder 7"/>
          <p:cNvSpPr txBox="1">
            <a:spLocks/>
          </p:cNvSpPr>
          <p:nvPr/>
        </p:nvSpPr>
        <p:spPr>
          <a:xfrm>
            <a:off x="344360" y="1484730"/>
            <a:ext cx="9289290" cy="44646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graniu przedstawionego obok skryptu robot będzie jechał cały czas do przodu ze stałą prędkością: </a:t>
            </a: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8" name="Obraz 7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48680" y="2852920"/>
            <a:ext cx="3869349" cy="1800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Wgrywanie programu na </a:t>
            </a:r>
            <a:r>
              <a:rPr lang="pl-PL" dirty="0" err="1" smtClean="0"/>
              <a:t>mBot’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 dirty="0"/>
          </a:p>
        </p:txBody>
      </p:sp>
      <p:sp>
        <p:nvSpPr>
          <p:cNvPr id="7" name="Content Placeholder 7"/>
          <p:cNvSpPr txBox="1">
            <a:spLocks/>
          </p:cNvSpPr>
          <p:nvPr/>
        </p:nvSpPr>
        <p:spPr>
          <a:xfrm>
            <a:off x="344360" y="1484730"/>
            <a:ext cx="9289290" cy="44646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dłączamy robota do komputera, (</a:t>
            </a:r>
            <a:r>
              <a:rPr lang="pl-PL" sz="2400" b="1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robot musi być włączony!)</a:t>
            </a: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bieramy z menu: Połącz -&gt; Port szeregowy -&gt; COMX</a:t>
            </a: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zełączamy na tryb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arduino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: Edytuj -&gt; Tryb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arduino</a:t>
            </a: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likamy przycisk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"Załaduj na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Arduino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„ i chwilę czekamy</a:t>
            </a: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Robot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est gotowy do zabawy :)</a:t>
            </a: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8" name="Picture 7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53000" y="3356990"/>
            <a:ext cx="4740733" cy="2094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Możliwości </a:t>
            </a:r>
            <a:r>
              <a:rPr lang="pl-PL" dirty="0" err="1" smtClean="0"/>
              <a:t>mBot’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Bot_MyFIT.pptx</a:t>
            </a:r>
            <a:endParaRPr lang="de-DE" dirty="0"/>
          </a:p>
        </p:txBody>
      </p:sp>
      <p:sp>
        <p:nvSpPr>
          <p:cNvPr id="8" name="Content Placeholder 7"/>
          <p:cNvSpPr txBox="1">
            <a:spLocks/>
          </p:cNvSpPr>
          <p:nvPr/>
        </p:nvSpPr>
        <p:spPr>
          <a:xfrm>
            <a:off x="344360" y="1484730"/>
            <a:ext cx="9289290" cy="44646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azda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różnych kierunkach z różnymi prędkościami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:</a:t>
            </a: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ustawianie różnych prędkości na silnikach </a:t>
            </a:r>
          </a:p>
          <a:p>
            <a:pPr marL="342900" lvl="0" indent="-342900" defTabSz="457200">
              <a:spcBef>
                <a:spcPct val="20000"/>
              </a:spcBef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9" name="Obraz 16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68780" y="2060810"/>
            <a:ext cx="2834650" cy="17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Obraz 19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65210" y="5157240"/>
            <a:ext cx="2958263" cy="709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09230" y="2060810"/>
            <a:ext cx="2828925" cy="224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672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Diody </a:t>
            </a:r>
            <a:r>
              <a:rPr lang="pl-PL" dirty="0" smtClean="0"/>
              <a:t>RGB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Bot_MyFIT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ustawianie różnych kolorów na diodach LED na płytc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:</a:t>
            </a: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48835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576670" y="2420860"/>
            <a:ext cx="4695825" cy="282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774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Sterowanie robotem za pomocą pilota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Bot_MyFIT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064460" y="2060810"/>
            <a:ext cx="4876800" cy="300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7747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825260" y="2060810"/>
            <a:ext cx="2414977" cy="2180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03</Words>
  <Application>Microsoft Office PowerPoint</Application>
  <PresentationFormat>A4 Paper (210x297 mm)</PresentationFormat>
  <Paragraphs>149</Paragraphs>
  <Slides>20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Blank</vt:lpstr>
      <vt:lpstr>Closing slides</vt:lpstr>
      <vt:lpstr>Section break</vt:lpstr>
      <vt:lpstr>think-cell Slide</vt:lpstr>
      <vt:lpstr>       mBot</vt:lpstr>
      <vt:lpstr>mBot i mBlock</vt:lpstr>
      <vt:lpstr>Opis płytki mBot’a</vt:lpstr>
      <vt:lpstr>Jak programować w mBlock’u?</vt:lpstr>
      <vt:lpstr>Pierwszy program</vt:lpstr>
      <vt:lpstr>Wgrywanie programu na mBot’a</vt:lpstr>
      <vt:lpstr>Możliwości mBot’a</vt:lpstr>
      <vt:lpstr>Diody RGB</vt:lpstr>
      <vt:lpstr>Sterowanie robotem za pomocą pilota</vt:lpstr>
      <vt:lpstr>Ekran LED</vt:lpstr>
      <vt:lpstr>Czujnik linii</vt:lpstr>
      <vt:lpstr>Czujnik odległości - sonar</vt:lpstr>
      <vt:lpstr>Dźwięki</vt:lpstr>
      <vt:lpstr>Inne bloczki</vt:lpstr>
      <vt:lpstr>Slide 15</vt:lpstr>
      <vt:lpstr>Zadanie 0: Dobra zabawa!!!</vt:lpstr>
      <vt:lpstr>Zadanie 1: Aktywny tempomat</vt:lpstr>
      <vt:lpstr>Zadanie 2: Zdalnie sterowany robot</vt:lpstr>
      <vt:lpstr>Zadanie 3: Robot śledzący linię</vt:lpstr>
      <vt:lpstr>Slide 20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Katarzyna Debowa</cp:lastModifiedBy>
  <cp:revision>201</cp:revision>
  <dcterms:created xsi:type="dcterms:W3CDTF">2014-10-21T19:55:20Z</dcterms:created>
  <dcterms:modified xsi:type="dcterms:W3CDTF">2016-06-10T07:19:03Z</dcterms:modified>
</cp:coreProperties>
</file>